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6"/>
  </p:notesMasterIdLst>
  <p:sldIdLst>
    <p:sldId id="285" r:id="rId2"/>
    <p:sldId id="284" r:id="rId3"/>
    <p:sldId id="257" r:id="rId4"/>
    <p:sldId id="259" r:id="rId5"/>
    <p:sldId id="258" r:id="rId6"/>
    <p:sldId id="260" r:id="rId7"/>
    <p:sldId id="261" r:id="rId8"/>
    <p:sldId id="262" r:id="rId9"/>
    <p:sldId id="263" r:id="rId10"/>
    <p:sldId id="264" r:id="rId11"/>
    <p:sldId id="266" r:id="rId12"/>
    <p:sldId id="267" r:id="rId13"/>
    <p:sldId id="268" r:id="rId14"/>
    <p:sldId id="271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C1158"/>
    <a:srgbClr val="410B57"/>
    <a:srgbClr val="382576"/>
    <a:srgbClr val="342675"/>
    <a:srgbClr val="1C266D"/>
    <a:srgbClr val="1D276E"/>
    <a:srgbClr val="400E57"/>
    <a:srgbClr val="401463"/>
    <a:srgbClr val="455F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E3FD50-040E-48BC-B3A6-638CDD0E0C44}" type="datetimeFigureOut">
              <a:rPr lang="pt-BR" smtClean="0"/>
              <a:t>20/03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F614D6-9A12-42F6-B8B1-1143EFD825B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0526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7027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DCD644-15CA-41D4-A096-BB0BD801D36B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4515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DCD644-15CA-41D4-A096-BB0BD801D36B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142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DCD644-15CA-41D4-A096-BB0BD801D36B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0440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Title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2399" y="1964267"/>
            <a:ext cx="7197726" cy="2421464"/>
          </a:xfrm>
        </p:spPr>
        <p:txBody>
          <a:bodyPr anchor="b">
            <a:normAutofit/>
          </a:bodyPr>
          <a:lstStyle>
            <a:lvl1pPr algn="r">
              <a:defRPr sz="4800">
                <a:effectLst/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399" y="4385732"/>
            <a:ext cx="7197726" cy="1405467"/>
          </a:xfrm>
        </p:spPr>
        <p:txBody>
          <a:bodyPr anchor="t">
            <a:normAutofit/>
          </a:bodyPr>
          <a:lstStyle>
            <a:lvl1pPr marL="0" indent="0" algn="r">
              <a:buNone/>
              <a:defRPr sz="1800" cap="all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32558" y="5870575"/>
            <a:ext cx="1600200" cy="377825"/>
          </a:xfrm>
        </p:spPr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2399" y="5870575"/>
            <a:ext cx="4893958" cy="3778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8958" y="5870575"/>
            <a:ext cx="551167" cy="3778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Panorâmica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32865"/>
            <a:ext cx="1013142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71600" y="932112"/>
            <a:ext cx="8759827" cy="3164976"/>
          </a:xfrm>
          <a:prstGeom prst="roundRect">
            <a:avLst>
              <a:gd name="adj" fmla="val 43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299603"/>
            <a:ext cx="10131427" cy="49371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3124199"/>
          </a:xfrm>
        </p:spPr>
        <p:txBody>
          <a:bodyPr anchor="ctr">
            <a:normAutofit/>
          </a:bodyPr>
          <a:lstStyle>
            <a:lvl1pPr algn="l">
              <a:defRPr sz="3200" b="0" cap="none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97875" y="3352800"/>
            <a:ext cx="9339184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465" y="4343400"/>
            <a:ext cx="10152367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3308581"/>
            <a:ext cx="10131425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4777381"/>
            <a:ext cx="10131426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0" y="3886200"/>
            <a:ext cx="10135436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pt-BR" smtClean="0"/>
              <a:t>Clique para editar o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5200"/>
            <a:ext cx="10135436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1" y="3505200"/>
            <a:ext cx="10131428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pt-BR" smtClean="0"/>
              <a:t>Clique para editar o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8675" y="609599"/>
            <a:ext cx="2158552" cy="5181601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7832116" cy="5181600"/>
          </a:xfrm>
        </p:spPr>
        <p:txBody>
          <a:bodyPr vert="eaVert" anchor="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307305" y="1626707"/>
            <a:ext cx="3441031" cy="14774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307305" y="3898228"/>
            <a:ext cx="3441031" cy="2141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80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800" i="0" baseline="0" dirty="0" smtClean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800" i="0" dirty="0" smtClean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9462655" y="645131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800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8908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308581"/>
            <a:ext cx="10131427" cy="1468800"/>
          </a:xfrm>
        </p:spPr>
        <p:txBody>
          <a:bodyPr anchor="b"/>
          <a:lstStyle>
            <a:lvl1pPr algn="l">
              <a:defRPr sz="4000" b="0" cap="all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7381"/>
            <a:ext cx="1013142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2" y="2142067"/>
            <a:ext cx="4995334" cy="3649134"/>
          </a:xfrm>
        </p:spPr>
        <p:txBody>
          <a:bodyPr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1895" y="2142067"/>
            <a:ext cx="4995332" cy="3649133"/>
          </a:xfrm>
        </p:spPr>
        <p:txBody>
          <a:bodyPr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73670" y="2218267"/>
            <a:ext cx="470905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1" y="2870201"/>
            <a:ext cx="4996923" cy="2920998"/>
          </a:xfrm>
        </p:spPr>
        <p:txBody>
          <a:bodyPr anchor="t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3" y="2226734"/>
            <a:ext cx="4722813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23483" y="2870201"/>
            <a:ext cx="4995334" cy="2920998"/>
          </a:xfrm>
        </p:spPr>
        <p:txBody>
          <a:bodyPr anchor="t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74333"/>
            <a:ext cx="3680885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8201" y="609601"/>
            <a:ext cx="6169026" cy="5181600"/>
          </a:xfrm>
        </p:spPr>
        <p:txBody>
          <a:bodyPr anchor="ctr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445933"/>
            <a:ext cx="3680885" cy="1828800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0"/>
            <a:ext cx="6164653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36253" y="914400"/>
            <a:ext cx="3280974" cy="4572000"/>
          </a:xfrm>
          <a:prstGeom prst="roundRect">
            <a:avLst>
              <a:gd name="adj" fmla="val 42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2971800"/>
            <a:ext cx="6164653" cy="1828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2142067"/>
            <a:ext cx="10131425" cy="36491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89660" y="5870575"/>
            <a:ext cx="1600200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3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5870575"/>
            <a:ext cx="7827659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66060" y="5870575"/>
            <a:ext cx="551167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7" r:id="rId10"/>
    <p:sldLayoutId id="2147483663" r:id="rId11"/>
    <p:sldLayoutId id="2147483664" r:id="rId12"/>
    <p:sldLayoutId id="2147483665" r:id="rId13"/>
    <p:sldLayoutId id="2147483668" r:id="rId14"/>
    <p:sldLayoutId id="2147483667" r:id="rId15"/>
    <p:sldLayoutId id="2147483658" r:id="rId16"/>
    <p:sldLayoutId id="2147483659" r:id="rId17"/>
    <p:sldLayoutId id="2147483669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912" y="-1852598"/>
            <a:ext cx="11088710" cy="10273597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81610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ço Reservado para Número de Slide 22"/>
          <p:cNvSpPr>
            <a:spLocks noGrp="1"/>
          </p:cNvSpPr>
          <p:nvPr>
            <p:ph type="sldNum" sz="quarter" idx="12"/>
          </p:nvPr>
        </p:nvSpPr>
        <p:spPr>
          <a:xfrm>
            <a:off x="8794984" y="6278370"/>
            <a:ext cx="2743200" cy="365125"/>
          </a:xfrm>
        </p:spPr>
        <p:txBody>
          <a:bodyPr/>
          <a:lstStyle/>
          <a:p>
            <a:r>
              <a:rPr lang="en-US" sz="2400" dirty="0"/>
              <a:t> </a:t>
            </a:r>
            <a:endParaRPr lang="en-US" sz="2400" dirty="0">
              <a:solidFill>
                <a:srgbClr val="C34343"/>
              </a:solidFill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826000" y="1447800"/>
            <a:ext cx="2578100" cy="2514600"/>
          </a:xfrm>
          <a:prstGeom prst="ellipse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Elipse 39"/>
          <p:cNvSpPr/>
          <p:nvPr/>
        </p:nvSpPr>
        <p:spPr>
          <a:xfrm>
            <a:off x="4703523" y="1339850"/>
            <a:ext cx="2806700" cy="2730500"/>
          </a:xfrm>
          <a:prstGeom prst="ellipse">
            <a:avLst/>
          </a:prstGeom>
          <a:noFill/>
          <a:ln w="38100">
            <a:solidFill>
              <a:srgbClr val="545E63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/>
              <a:t>   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476767" y="4468970"/>
            <a:ext cx="7208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y Bord</a:t>
            </a:r>
            <a:endParaRPr lang="pt-BR" sz="40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682" b="98851" l="3214" r="996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152" y="1489572"/>
            <a:ext cx="2736071" cy="2526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74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-32197" y="0"/>
          <a:ext cx="6059510" cy="2189408"/>
        </p:xfrm>
        <a:graphic>
          <a:graphicData uri="http://schemas.openxmlformats.org/drawingml/2006/table">
            <a:tbl>
              <a:tblPr/>
              <a:tblGrid>
                <a:gridCol w="6059510"/>
              </a:tblGrid>
              <a:tr h="2189408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3000778" y="2208726"/>
          <a:ext cx="6091708" cy="2247364"/>
        </p:xfrm>
        <a:graphic>
          <a:graphicData uri="http://schemas.openxmlformats.org/drawingml/2006/table">
            <a:tbl>
              <a:tblPr/>
              <a:tblGrid>
                <a:gridCol w="6091708"/>
              </a:tblGrid>
              <a:tr h="2247364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/>
          </p:nvPr>
        </p:nvGraphicFramePr>
        <p:xfrm>
          <a:off x="-1" y="4436772"/>
          <a:ext cx="6027313" cy="2416937"/>
        </p:xfrm>
        <a:graphic>
          <a:graphicData uri="http://schemas.openxmlformats.org/drawingml/2006/table">
            <a:tbl>
              <a:tblPr/>
              <a:tblGrid>
                <a:gridCol w="6027313"/>
              </a:tblGrid>
              <a:tr h="2416937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Tabela 6"/>
          <p:cNvGraphicFramePr>
            <a:graphicFrameLocks noGrp="1"/>
          </p:cNvGraphicFramePr>
          <p:nvPr>
            <p:extLst/>
          </p:nvPr>
        </p:nvGraphicFramePr>
        <p:xfrm>
          <a:off x="6027312" y="4456090"/>
          <a:ext cx="6164687" cy="2401910"/>
        </p:xfrm>
        <a:graphic>
          <a:graphicData uri="http://schemas.openxmlformats.org/drawingml/2006/table">
            <a:tbl>
              <a:tblPr/>
              <a:tblGrid>
                <a:gridCol w="6164687"/>
              </a:tblGrid>
              <a:tr h="2401910">
                <a:tc>
                  <a:txBody>
                    <a:bodyPr/>
                    <a:lstStyle/>
                    <a:p>
                      <a:endParaRPr lang="pt-BR" u="sng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ela 7"/>
          <p:cNvGraphicFramePr>
            <a:graphicFrameLocks noGrp="1"/>
          </p:cNvGraphicFramePr>
          <p:nvPr>
            <p:extLst/>
          </p:nvPr>
        </p:nvGraphicFramePr>
        <p:xfrm>
          <a:off x="6027313" y="0"/>
          <a:ext cx="6164687" cy="2189408"/>
        </p:xfrm>
        <a:graphic>
          <a:graphicData uri="http://schemas.openxmlformats.org/drawingml/2006/table">
            <a:tbl>
              <a:tblPr/>
              <a:tblGrid>
                <a:gridCol w="6164687"/>
              </a:tblGrid>
              <a:tr h="2189408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pic>
        <p:nvPicPr>
          <p:cNvPr id="9" name="Imagem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045" y="1191295"/>
            <a:ext cx="940158" cy="940158"/>
          </a:xfrm>
          <a:prstGeom prst="rect">
            <a:avLst/>
          </a:prstGeom>
        </p:spPr>
      </p:pic>
      <p:sp>
        <p:nvSpPr>
          <p:cNvPr id="11" name="Texto explicativo em elipse 10"/>
          <p:cNvSpPr/>
          <p:nvPr/>
        </p:nvSpPr>
        <p:spPr>
          <a:xfrm>
            <a:off x="3383930" y="142792"/>
            <a:ext cx="2537135" cy="1621614"/>
          </a:xfrm>
          <a:prstGeom prst="wedgeEllipseCallou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Senhor analista, desejo uma solução que monitore o desempenho dos meus funcionários em home office e seus respectivos computadores.</a:t>
            </a:r>
            <a:endParaRPr lang="pt-BR" sz="1200" dirty="0">
              <a:solidFill>
                <a:schemeClr val="tx1"/>
              </a:solidFill>
            </a:endParaRP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1" y="1191295"/>
            <a:ext cx="940158" cy="940158"/>
          </a:xfrm>
          <a:prstGeom prst="rect">
            <a:avLst/>
          </a:prstGeom>
        </p:spPr>
      </p:pic>
      <p:sp>
        <p:nvSpPr>
          <p:cNvPr id="14" name="Texto explicativo em elipse 13"/>
          <p:cNvSpPr/>
          <p:nvPr/>
        </p:nvSpPr>
        <p:spPr>
          <a:xfrm>
            <a:off x="702705" y="193183"/>
            <a:ext cx="1435188" cy="940157"/>
          </a:xfrm>
          <a:prstGeom prst="wedgeEllipseCallou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tx1"/>
                </a:solidFill>
              </a:rPr>
              <a:t>Do que você precisa ?</a:t>
            </a:r>
            <a:endParaRPr lang="pt-BR" sz="1200" dirty="0">
              <a:solidFill>
                <a:schemeClr val="tx1"/>
              </a:solidFill>
            </a:endParaRP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092" y="-82284"/>
            <a:ext cx="2368660" cy="236866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2517" y="325071"/>
            <a:ext cx="1202108" cy="1202108"/>
          </a:xfrm>
          <a:prstGeom prst="rect">
            <a:avLst/>
          </a:prstGeom>
        </p:spPr>
      </p:pic>
      <p:sp>
        <p:nvSpPr>
          <p:cNvPr id="18" name="Fluxograma: Processo 17"/>
          <p:cNvSpPr/>
          <p:nvPr/>
        </p:nvSpPr>
        <p:spPr>
          <a:xfrm>
            <a:off x="6284890" y="325071"/>
            <a:ext cx="2017166" cy="1202108"/>
          </a:xfrm>
          <a:prstGeom prst="flowChartProcess">
            <a:avLst/>
          </a:prstGeom>
          <a:solidFill>
            <a:srgbClr val="3C11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Desejo página web para os meus funcionários terem acesso único por usuário.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19" name="Fluxograma: Processo 18"/>
          <p:cNvSpPr/>
          <p:nvPr/>
        </p:nvSpPr>
        <p:spPr>
          <a:xfrm>
            <a:off x="3145124" y="2362161"/>
            <a:ext cx="2017166" cy="1202108"/>
          </a:xfrm>
          <a:prstGeom prst="flowChartProcess">
            <a:avLst/>
          </a:prstGeom>
          <a:solidFill>
            <a:srgbClr val="3C11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O site deve conter um countdown que defina as horas diárias trabalhadas e que faça upload dos arquivos.</a:t>
            </a:r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762" y="2125540"/>
            <a:ext cx="2368660" cy="2368660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124" y="2514479"/>
            <a:ext cx="934831" cy="934831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210" y="2946529"/>
            <a:ext cx="706190" cy="706190"/>
          </a:xfrm>
          <a:prstGeom prst="rect">
            <a:avLst/>
          </a:prstGeom>
        </p:spPr>
      </p:pic>
      <p:sp>
        <p:nvSpPr>
          <p:cNvPr id="23" name="Fluxograma: Processo 22"/>
          <p:cNvSpPr/>
          <p:nvPr/>
        </p:nvSpPr>
        <p:spPr>
          <a:xfrm>
            <a:off x="167416" y="4597230"/>
            <a:ext cx="2240934" cy="1597507"/>
          </a:xfrm>
          <a:prstGeom prst="flowChartProcess">
            <a:avLst/>
          </a:prstGeom>
          <a:solidFill>
            <a:srgbClr val="3C11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Também quero um sistema de monitoramento em que meu gerente tenha total controle dos sistemas operacionais e da produtividade dos funcionários.</a:t>
            </a:r>
          </a:p>
        </p:txBody>
      </p:sp>
      <p:pic>
        <p:nvPicPr>
          <p:cNvPr id="24" name="Imagem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994" y="4584126"/>
            <a:ext cx="2125768" cy="2125768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212" y="4494200"/>
            <a:ext cx="1311006" cy="1311006"/>
          </a:xfrm>
          <a:prstGeom prst="rect">
            <a:avLst/>
          </a:prstGeom>
        </p:spPr>
      </p:pic>
      <p:sp>
        <p:nvSpPr>
          <p:cNvPr id="27" name="Fluxograma: Processo 26"/>
          <p:cNvSpPr/>
          <p:nvPr/>
        </p:nvSpPr>
        <p:spPr>
          <a:xfrm>
            <a:off x="6194728" y="4603097"/>
            <a:ext cx="2288579" cy="2074599"/>
          </a:xfrm>
          <a:prstGeom prst="flowChartProcess">
            <a:avLst/>
          </a:prstGeom>
          <a:solidFill>
            <a:srgbClr val="3C11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 smtClean="0">
                <a:solidFill>
                  <a:schemeClr val="tx1"/>
                </a:solidFill>
              </a:rPr>
              <a:t>E desejo que nesse sistema contenha gráficos com desempenho da CPU (gerando um alerta em caso de super aquecimento da maquina) e gráficos com diversas análises de desempenho dos funcionários.</a:t>
            </a:r>
          </a:p>
        </p:txBody>
      </p:sp>
      <p:pic>
        <p:nvPicPr>
          <p:cNvPr id="28" name="Imagem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6422" y="4346703"/>
            <a:ext cx="2616394" cy="2616394"/>
          </a:xfrm>
          <a:prstGeom prst="rect">
            <a:avLst/>
          </a:prstGeom>
        </p:spPr>
      </p:pic>
      <p:pic>
        <p:nvPicPr>
          <p:cNvPr id="29" name="Imagem 2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715" y="5500404"/>
            <a:ext cx="609604" cy="609604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619" y="5480508"/>
            <a:ext cx="649396" cy="649396"/>
          </a:xfrm>
          <a:prstGeom prst="rect">
            <a:avLst/>
          </a:prstGeom>
        </p:spPr>
      </p:pic>
      <p:pic>
        <p:nvPicPr>
          <p:cNvPr id="31" name="Imagem 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181" y="4806030"/>
            <a:ext cx="589277" cy="589277"/>
          </a:xfrm>
          <a:prstGeom prst="rect">
            <a:avLst/>
          </a:prstGeom>
        </p:spPr>
      </p:pic>
      <p:pic>
        <p:nvPicPr>
          <p:cNvPr id="32" name="Imagem 3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3458" y="4806030"/>
            <a:ext cx="589277" cy="5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943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Requisitos </a:t>
            </a:r>
            <a:r>
              <a:rPr lang="pt-BR" sz="3000" dirty="0" smtClean="0"/>
              <a:t>Funcionais</a:t>
            </a:r>
            <a:endParaRPr lang="pt-BR" sz="3000" dirty="0"/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4192868" y="873390"/>
            <a:ext cx="553068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Criar site institucional para a empres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Desenvolver o index do  sit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Inov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Ambiente de trabalh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Especificação funciona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API de monitoramento S.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Simulador de alerta em JAV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Definir e instalar o S.O.</a:t>
            </a:r>
          </a:p>
        </p:txBody>
      </p:sp>
    </p:spTree>
    <p:extLst>
      <p:ext uri="{BB962C8B-B14F-4D97-AF65-F5344CB8AC3E}">
        <p14:creationId xmlns:p14="http://schemas.microsoft.com/office/powerpoint/2010/main" val="112424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Requisitos </a:t>
            </a:r>
          </a:p>
          <a:p>
            <a:pPr algn="ctr"/>
            <a:r>
              <a:rPr lang="pt-BR" sz="3000" dirty="0"/>
              <a:t>N</a:t>
            </a:r>
            <a:r>
              <a:rPr lang="pt-BR" sz="3000" dirty="0" smtClean="0"/>
              <a:t>ão Funcionais</a:t>
            </a:r>
            <a:endParaRPr lang="pt-BR" sz="3000" dirty="0"/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4321658" y="1512642"/>
            <a:ext cx="553068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Hospedar o site no </a:t>
            </a:r>
            <a:r>
              <a:rPr lang="pt-BR" sz="2400" dirty="0" err="1" smtClean="0"/>
              <a:t>Azure</a:t>
            </a:r>
            <a:r>
              <a:rPr lang="pt-BR" sz="2400" dirty="0" smtClean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Hospedar o banco de dados no </a:t>
            </a:r>
            <a:r>
              <a:rPr lang="pt-BR" sz="2400" dirty="0" err="1" smtClean="0"/>
              <a:t>Azure</a:t>
            </a:r>
            <a:r>
              <a:rPr lang="pt-BR" sz="2400" dirty="0" smtClean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 smtClean="0"/>
              <a:t>Canvas</a:t>
            </a:r>
            <a:r>
              <a:rPr lang="pt-BR" sz="2400" dirty="0" smtClean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User </a:t>
            </a:r>
            <a:r>
              <a:rPr lang="pt-BR" sz="2400" dirty="0" err="1" smtClean="0"/>
              <a:t>Stories</a:t>
            </a:r>
            <a:r>
              <a:rPr lang="pt-BR" sz="2400" dirty="0" smtClean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Story Bord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Plano de respostas.</a:t>
            </a:r>
          </a:p>
        </p:txBody>
      </p:sp>
    </p:spTree>
    <p:extLst>
      <p:ext uri="{BB962C8B-B14F-4D97-AF65-F5344CB8AC3E}">
        <p14:creationId xmlns:p14="http://schemas.microsoft.com/office/powerpoint/2010/main" val="172482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ço Reservado para Número de Slide 22"/>
          <p:cNvSpPr>
            <a:spLocks noGrp="1"/>
          </p:cNvSpPr>
          <p:nvPr>
            <p:ph type="sldNum" sz="quarter" idx="12"/>
          </p:nvPr>
        </p:nvSpPr>
        <p:spPr>
          <a:xfrm>
            <a:off x="8794984" y="6278370"/>
            <a:ext cx="2743200" cy="365125"/>
          </a:xfrm>
        </p:spPr>
        <p:txBody>
          <a:bodyPr/>
          <a:lstStyle/>
          <a:p>
            <a:r>
              <a:rPr lang="en-US" sz="2400" dirty="0"/>
              <a:t> </a:t>
            </a:r>
            <a:endParaRPr lang="en-US" sz="2400" dirty="0">
              <a:solidFill>
                <a:srgbClr val="C34343"/>
              </a:solidFill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826000" y="1447800"/>
            <a:ext cx="2578100" cy="2514600"/>
          </a:xfrm>
          <a:prstGeom prst="ellipse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Elipse 39"/>
          <p:cNvSpPr/>
          <p:nvPr/>
        </p:nvSpPr>
        <p:spPr>
          <a:xfrm>
            <a:off x="4703523" y="1339850"/>
            <a:ext cx="2806700" cy="2730500"/>
          </a:xfrm>
          <a:prstGeom prst="ellipse">
            <a:avLst/>
          </a:prstGeom>
          <a:noFill/>
          <a:ln w="38100">
            <a:solidFill>
              <a:srgbClr val="545E63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/>
              <a:t>   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476767" y="4468970"/>
            <a:ext cx="7208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ção</a:t>
            </a:r>
          </a:p>
        </p:txBody>
      </p:sp>
      <p:sp>
        <p:nvSpPr>
          <p:cNvPr id="17" name="Elipse 16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309" y="1585029"/>
            <a:ext cx="2275127" cy="223520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0282" y="3140946"/>
            <a:ext cx="757215" cy="757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54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56614" y="169187"/>
            <a:ext cx="9828080" cy="113561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pt-BR" sz="2800" dirty="0" smtClean="0">
                <a:solidFill>
                  <a:schemeClr val="bg1"/>
                </a:solidFill>
                <a:latin typeface="Simplon BP Regular" pitchFamily="2" charset="0"/>
              </a:rPr>
              <a:t>PLANO </a:t>
            </a:r>
            <a:r>
              <a:rPr lang="pt-BR" sz="2800" dirty="0">
                <a:solidFill>
                  <a:schemeClr val="bg1"/>
                </a:solidFill>
                <a:latin typeface="Simplon BP Regular" pitchFamily="2" charset="0"/>
              </a:rPr>
              <a:t>DE AÇÃO</a:t>
            </a:r>
          </a:p>
        </p:txBody>
      </p:sp>
      <p:cxnSp>
        <p:nvCxnSpPr>
          <p:cNvPr id="4" name="Conector reto 3"/>
          <p:cNvCxnSpPr/>
          <p:nvPr/>
        </p:nvCxnSpPr>
        <p:spPr>
          <a:xfrm flipH="1">
            <a:off x="3810248" y="1535091"/>
            <a:ext cx="0" cy="421177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113268" y="1507104"/>
            <a:ext cx="7256" cy="433826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088740" y="877732"/>
            <a:ext cx="16566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064416" y="929150"/>
            <a:ext cx="2024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819657" y="861302"/>
            <a:ext cx="24326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02648" y="1731013"/>
            <a:ext cx="1344705" cy="66117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2907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012973" y="1839609"/>
            <a:ext cx="1769732" cy="63598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012973" y="3472534"/>
            <a:ext cx="1768533" cy="691341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vergência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8362992" y="1839609"/>
            <a:ext cx="1701479" cy="635980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eedback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8383046" y="3472040"/>
            <a:ext cx="1701479" cy="68869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ção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336797" y="1406828"/>
            <a:ext cx="1395968" cy="72304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olver divergências desde o seu   surgimen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02648" y="5558548"/>
            <a:ext cx="1365344" cy="678662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2907"/>
            <a:r>
              <a:rPr lang="pt-BR" sz="1400" dirty="0" smtClean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planejamento</a:t>
            </a:r>
            <a:endParaRPr lang="pt-BR" sz="1400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06541" y="3010253"/>
            <a:ext cx="1361451" cy="588585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2907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interesse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02648" y="4266258"/>
            <a:ext cx="1365344" cy="636932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2907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trasos (Sprint)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4010057" y="5136398"/>
            <a:ext cx="1766407" cy="704041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 Desvalorizar o trabalho do colega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8362992" y="5147294"/>
            <a:ext cx="1701479" cy="703481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laboração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706013" y="3196904"/>
            <a:ext cx="1368337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lanejamento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2356084" y="2292634"/>
            <a:ext cx="1376681" cy="455593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er  convívio com o grupo</a:t>
            </a:r>
          </a:p>
        </p:txBody>
      </p:sp>
      <p:cxnSp>
        <p:nvCxnSpPr>
          <p:cNvPr id="3" name="Conector de seta reta 2"/>
          <p:cNvCxnSpPr>
            <a:stCxn id="11" idx="3"/>
          </p:cNvCxnSpPr>
          <p:nvPr/>
        </p:nvCxnSpPr>
        <p:spPr>
          <a:xfrm flipV="1">
            <a:off x="1547352" y="1806458"/>
            <a:ext cx="739390" cy="2551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de seta reta 12"/>
          <p:cNvCxnSpPr>
            <a:stCxn id="11" idx="3"/>
          </p:cNvCxnSpPr>
          <p:nvPr/>
        </p:nvCxnSpPr>
        <p:spPr>
          <a:xfrm>
            <a:off x="1547352" y="2061598"/>
            <a:ext cx="711962" cy="3305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Retângulo 42">
            <a:extLst>
              <a:ext uri="{FF2B5EF4-FFF2-40B4-BE49-F238E27FC236}">
                <a16:creationId xmlns:a16="http://schemas.microsoft.com/office/drawing/2014/main" xmlns="" id="{4925D617-0424-417B-A6A4-487F70F029FC}"/>
              </a:ext>
            </a:extLst>
          </p:cNvPr>
          <p:cNvSpPr/>
          <p:nvPr/>
        </p:nvSpPr>
        <p:spPr>
          <a:xfrm>
            <a:off x="2350121" y="3882741"/>
            <a:ext cx="1387980" cy="57945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onsabilidade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xmlns="" id="{E2D5DD5F-909E-4A3C-88A6-B1A2981DE9DB}"/>
              </a:ext>
            </a:extLst>
          </p:cNvPr>
          <p:cNvSpPr/>
          <p:nvPr/>
        </p:nvSpPr>
        <p:spPr>
          <a:xfrm>
            <a:off x="2336929" y="4661850"/>
            <a:ext cx="1395836" cy="49104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 smtClean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eitar as  </a:t>
            </a:r>
            <a:r>
              <a:rPr lang="pt-BR" sz="1270" dirty="0" err="1" smtClean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prints</a:t>
            </a:r>
            <a:endParaRPr lang="pt-BR" sz="1270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cxnSp>
        <p:nvCxnSpPr>
          <p:cNvPr id="15" name="Conector de seta reta 14"/>
          <p:cNvCxnSpPr/>
          <p:nvPr/>
        </p:nvCxnSpPr>
        <p:spPr>
          <a:xfrm flipV="1">
            <a:off x="1592013" y="4270971"/>
            <a:ext cx="635829" cy="2264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ector de seta reta 44"/>
          <p:cNvCxnSpPr/>
          <p:nvPr/>
        </p:nvCxnSpPr>
        <p:spPr>
          <a:xfrm>
            <a:off x="1582301" y="4495187"/>
            <a:ext cx="635829" cy="3184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tângulo 46">
            <a:extLst>
              <a:ext uri="{FF2B5EF4-FFF2-40B4-BE49-F238E27FC236}">
                <a16:creationId xmlns:a16="http://schemas.microsoft.com/office/drawing/2014/main" xmlns="" id="{058CA45B-999B-4813-B867-6B39A0C76339}"/>
              </a:ext>
            </a:extLst>
          </p:cNvPr>
          <p:cNvSpPr/>
          <p:nvPr/>
        </p:nvSpPr>
        <p:spPr>
          <a:xfrm>
            <a:off x="2368386" y="3018060"/>
            <a:ext cx="1369217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cxnSp>
        <p:nvCxnSpPr>
          <p:cNvPr id="48" name="Conector de seta reta 47"/>
          <p:cNvCxnSpPr>
            <a:stCxn id="22" idx="3"/>
          </p:cNvCxnSpPr>
          <p:nvPr/>
        </p:nvCxnSpPr>
        <p:spPr>
          <a:xfrm>
            <a:off x="1567992" y="3304546"/>
            <a:ext cx="691322" cy="89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tângulo 53">
            <a:extLst>
              <a:ext uri="{FF2B5EF4-FFF2-40B4-BE49-F238E27FC236}">
                <a16:creationId xmlns:a16="http://schemas.microsoft.com/office/drawing/2014/main" xmlns="" id="{058CA45B-999B-4813-B867-6B39A0C76339}"/>
              </a:ext>
            </a:extLst>
          </p:cNvPr>
          <p:cNvSpPr/>
          <p:nvPr/>
        </p:nvSpPr>
        <p:spPr>
          <a:xfrm>
            <a:off x="2336797" y="5343248"/>
            <a:ext cx="1395968" cy="50211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xmlns="" id="{E00278AC-C126-4C24-B11D-DD7FA8B65D84}"/>
              </a:ext>
            </a:extLst>
          </p:cNvPr>
          <p:cNvSpPr/>
          <p:nvPr/>
        </p:nvSpPr>
        <p:spPr>
          <a:xfrm>
            <a:off x="2336797" y="6033954"/>
            <a:ext cx="1395968" cy="450034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operação</a:t>
            </a:r>
          </a:p>
        </p:txBody>
      </p:sp>
      <p:cxnSp>
        <p:nvCxnSpPr>
          <p:cNvPr id="61" name="Conector de seta reta 60"/>
          <p:cNvCxnSpPr>
            <a:stCxn id="21" idx="3"/>
          </p:cNvCxnSpPr>
          <p:nvPr/>
        </p:nvCxnSpPr>
        <p:spPr>
          <a:xfrm flipV="1">
            <a:off x="1567993" y="5649445"/>
            <a:ext cx="704646" cy="2484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Conector de seta reta 62"/>
          <p:cNvCxnSpPr>
            <a:stCxn id="21" idx="3"/>
          </p:cNvCxnSpPr>
          <p:nvPr/>
        </p:nvCxnSpPr>
        <p:spPr>
          <a:xfrm>
            <a:off x="1567993" y="5897879"/>
            <a:ext cx="704646" cy="339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tângulo 65">
            <a:extLst>
              <a:ext uri="{FF2B5EF4-FFF2-40B4-BE49-F238E27FC236}">
                <a16:creationId xmlns:a16="http://schemas.microsoft.com/office/drawing/2014/main" xmlns="" id="{8A616B1D-ECF5-47CE-83FE-B5DE75501BA5}"/>
              </a:ext>
            </a:extLst>
          </p:cNvPr>
          <p:cNvSpPr/>
          <p:nvPr/>
        </p:nvSpPr>
        <p:spPr>
          <a:xfrm>
            <a:off x="10706013" y="1535090"/>
            <a:ext cx="1368338" cy="56175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Honestidade</a:t>
            </a: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706013" y="2241943"/>
            <a:ext cx="1368338" cy="56675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eito</a:t>
            </a:r>
          </a:p>
        </p:txBody>
      </p:sp>
      <p:cxnSp>
        <p:nvCxnSpPr>
          <p:cNvPr id="68" name="Conector de seta reta 67"/>
          <p:cNvCxnSpPr>
            <a:stCxn id="26" idx="3"/>
          </p:cNvCxnSpPr>
          <p:nvPr/>
        </p:nvCxnSpPr>
        <p:spPr>
          <a:xfrm flipV="1">
            <a:off x="10064471" y="1857753"/>
            <a:ext cx="505549" cy="2998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Conector de seta reta 69"/>
          <p:cNvCxnSpPr>
            <a:stCxn id="26" idx="3"/>
          </p:cNvCxnSpPr>
          <p:nvPr/>
        </p:nvCxnSpPr>
        <p:spPr>
          <a:xfrm>
            <a:off x="10064471" y="2157599"/>
            <a:ext cx="506704" cy="3179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tângulo 4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454377" y="2245164"/>
            <a:ext cx="1416422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onsabilidade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454374" y="3900817"/>
            <a:ext cx="1416423" cy="54329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mpatia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xmlns="" id="{058CA45B-999B-4813-B867-6B39A0C76339}"/>
              </a:ext>
            </a:extLst>
          </p:cNvPr>
          <p:cNvSpPr/>
          <p:nvPr/>
        </p:nvSpPr>
        <p:spPr>
          <a:xfrm>
            <a:off x="6454376" y="1486053"/>
            <a:ext cx="1416422" cy="64081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cxnSp>
        <p:nvCxnSpPr>
          <p:cNvPr id="20" name="Conector de seta reta 19"/>
          <p:cNvCxnSpPr>
            <a:stCxn id="16" idx="3"/>
          </p:cNvCxnSpPr>
          <p:nvPr/>
        </p:nvCxnSpPr>
        <p:spPr>
          <a:xfrm flipV="1">
            <a:off x="5782706" y="1937953"/>
            <a:ext cx="620289" cy="2196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ector de seta reta 27"/>
          <p:cNvCxnSpPr>
            <a:stCxn id="16" idx="3"/>
          </p:cNvCxnSpPr>
          <p:nvPr/>
        </p:nvCxnSpPr>
        <p:spPr>
          <a:xfrm>
            <a:off x="5782705" y="2157599"/>
            <a:ext cx="600027" cy="2570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tângulo 57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454374" y="3210932"/>
            <a:ext cx="1416423" cy="56675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utocontrole</a:t>
            </a:r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454376" y="4903190"/>
            <a:ext cx="1416422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speito</a:t>
            </a:r>
          </a:p>
        </p:txBody>
      </p:sp>
      <p:cxnSp>
        <p:nvCxnSpPr>
          <p:cNvPr id="50" name="Conector de seta reta 49"/>
          <p:cNvCxnSpPr>
            <a:stCxn id="17" idx="3"/>
          </p:cNvCxnSpPr>
          <p:nvPr/>
        </p:nvCxnSpPr>
        <p:spPr>
          <a:xfrm>
            <a:off x="5781507" y="3818206"/>
            <a:ext cx="612270" cy="2849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>
            <a:stCxn id="17" idx="3"/>
          </p:cNvCxnSpPr>
          <p:nvPr/>
        </p:nvCxnSpPr>
        <p:spPr>
          <a:xfrm flipV="1">
            <a:off x="5781507" y="3522353"/>
            <a:ext cx="612270" cy="2958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Retângulo 68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6454374" y="5617021"/>
            <a:ext cx="1416423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eedback</a:t>
            </a: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706013" y="3900817"/>
            <a:ext cx="1368338" cy="54329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sciplina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706011" y="4897623"/>
            <a:ext cx="1368339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947"/>
            <a:r>
              <a:rPr lang="pt-BR" sz="1270" dirty="0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operação</a:t>
            </a:r>
          </a:p>
        </p:txBody>
      </p:sp>
      <p:sp>
        <p:nvSpPr>
          <p:cNvPr id="73" name="Retângulo 72">
            <a:extLst>
              <a:ext uri="{FF2B5EF4-FFF2-40B4-BE49-F238E27FC236}">
                <a16:creationId xmlns:a16="http://schemas.microsoft.com/office/drawing/2014/main" xmlns="" id="{4997F601-006F-4BC7-9604-88E30DA500D9}"/>
              </a:ext>
            </a:extLst>
          </p:cNvPr>
          <p:cNvSpPr/>
          <p:nvPr/>
        </p:nvSpPr>
        <p:spPr>
          <a:xfrm>
            <a:off x="10706011" y="5617020"/>
            <a:ext cx="1368339" cy="58077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70" dirty="0" err="1">
                <a:solidFill>
                  <a:schemeClr val="bg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atividade</a:t>
            </a:r>
            <a:endParaRPr lang="pt-BR" sz="1270" dirty="0">
              <a:solidFill>
                <a:schemeClr val="bg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cxnSp>
        <p:nvCxnSpPr>
          <p:cNvPr id="74" name="Conector de seta reta 73"/>
          <p:cNvCxnSpPr>
            <a:stCxn id="27" idx="3"/>
          </p:cNvCxnSpPr>
          <p:nvPr/>
        </p:nvCxnSpPr>
        <p:spPr>
          <a:xfrm flipV="1">
            <a:off x="10084525" y="3598839"/>
            <a:ext cx="485495" cy="2175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Conector de seta reta 76"/>
          <p:cNvCxnSpPr>
            <a:stCxn id="27" idx="3"/>
          </p:cNvCxnSpPr>
          <p:nvPr/>
        </p:nvCxnSpPr>
        <p:spPr>
          <a:xfrm>
            <a:off x="10084525" y="3816390"/>
            <a:ext cx="485495" cy="2867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Conector de seta reta 79"/>
          <p:cNvCxnSpPr>
            <a:stCxn id="33" idx="3"/>
          </p:cNvCxnSpPr>
          <p:nvPr/>
        </p:nvCxnSpPr>
        <p:spPr>
          <a:xfrm flipV="1">
            <a:off x="10064471" y="5280370"/>
            <a:ext cx="505549" cy="2186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Conector de seta reta 81"/>
          <p:cNvCxnSpPr>
            <a:stCxn id="33" idx="3"/>
          </p:cNvCxnSpPr>
          <p:nvPr/>
        </p:nvCxnSpPr>
        <p:spPr>
          <a:xfrm>
            <a:off x="10064471" y="5499035"/>
            <a:ext cx="505549" cy="274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Conector de seta reta 85"/>
          <p:cNvCxnSpPr>
            <a:stCxn id="32" idx="3"/>
          </p:cNvCxnSpPr>
          <p:nvPr/>
        </p:nvCxnSpPr>
        <p:spPr>
          <a:xfrm flipV="1">
            <a:off x="5776464" y="5271611"/>
            <a:ext cx="600428" cy="216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Conector de seta reta 88"/>
          <p:cNvCxnSpPr>
            <a:stCxn id="32" idx="3"/>
          </p:cNvCxnSpPr>
          <p:nvPr/>
        </p:nvCxnSpPr>
        <p:spPr>
          <a:xfrm>
            <a:off x="5776464" y="5488418"/>
            <a:ext cx="600428" cy="258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605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880315" y="2684425"/>
            <a:ext cx="9027063" cy="3649133"/>
          </a:xfrm>
        </p:spPr>
        <p:txBody>
          <a:bodyPr>
            <a:normAutofit fontScale="92500" lnSpcReduction="10000"/>
          </a:bodyPr>
          <a:lstStyle/>
          <a:p>
            <a:pPr marL="1828800" lvl="4" indent="0" algn="ctr">
              <a:buNone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BANDTEC – DIGITAL SCHOOL – GERAÇÃO FUTURA</a:t>
            </a:r>
          </a:p>
          <a:p>
            <a:pPr marL="1828800" lvl="4" indent="0" algn="ctr">
              <a:buNone/>
            </a:pP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0" lvl="4" indent="0" algn="ctr">
              <a:buNone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URSO DE TECNOLOGIA EM ANÁLISE E</a:t>
            </a:r>
          </a:p>
          <a:p>
            <a:pPr marL="1828800" lvl="4" indent="0" algn="ctr">
              <a:buNone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 DESENVOLVIMENTO DE SISTEMAS </a:t>
            </a:r>
          </a:p>
          <a:p>
            <a:pPr marL="1828800" lvl="4" indent="0" algn="ctr">
              <a:buNone/>
            </a:pP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0" lvl="4" indent="0" algn="ctr">
              <a:buNone/>
            </a:pPr>
            <a:r>
              <a:rPr lang="pt-BR" sz="2400" b="1" dirty="0">
                <a:latin typeface="Arial" panose="020B0604020202020204" pitchFamily="34" charset="0"/>
                <a:cs typeface="Arial" panose="020B0604020202020204" pitchFamily="34" charset="0"/>
              </a:rPr>
              <a:t>PROJETO </a:t>
            </a:r>
            <a:r>
              <a:rPr lang="pt-B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C INSIDE </a:t>
            </a:r>
            <a:endParaRPr lang="pt-B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0" lvl="4" indent="0" algn="ctr">
              <a:buNone/>
            </a:pPr>
            <a:r>
              <a:rPr lang="pt-B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NITORAMENTO DE</a:t>
            </a:r>
            <a:endParaRPr lang="pt-BR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8800" lvl="4" indent="0" algn="ctr">
              <a:buNone/>
            </a:pPr>
            <a:r>
              <a:rPr lang="pt-B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S OPERACIONAI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dirty="0"/>
          </a:p>
        </p:txBody>
      </p:sp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800" dirty="0"/>
              <a:t>Band Tec</a:t>
            </a:r>
          </a:p>
          <a:p>
            <a:pPr algn="ctr"/>
            <a:r>
              <a:rPr lang="pt-BR" sz="2400" dirty="0"/>
              <a:t>DIGITAL SCHOOL </a:t>
            </a:r>
          </a:p>
        </p:txBody>
      </p:sp>
      <p:sp>
        <p:nvSpPr>
          <p:cNvPr id="7" name="Elipse 6"/>
          <p:cNvSpPr/>
          <p:nvPr/>
        </p:nvSpPr>
        <p:spPr>
          <a:xfrm>
            <a:off x="-251930" y="-101169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595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ço Reservado para Número de Slide 22"/>
          <p:cNvSpPr>
            <a:spLocks noGrp="1"/>
          </p:cNvSpPr>
          <p:nvPr>
            <p:ph type="sldNum" sz="quarter" idx="12"/>
          </p:nvPr>
        </p:nvSpPr>
        <p:spPr>
          <a:xfrm>
            <a:off x="8794984" y="6278370"/>
            <a:ext cx="2743200" cy="365125"/>
          </a:xfrm>
        </p:spPr>
        <p:txBody>
          <a:bodyPr/>
          <a:lstStyle/>
          <a:p>
            <a:r>
              <a:rPr lang="en-US" sz="2400" dirty="0"/>
              <a:t> </a:t>
            </a:r>
            <a:endParaRPr lang="en-US" sz="2400" dirty="0">
              <a:solidFill>
                <a:srgbClr val="C34343"/>
              </a:solidFill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826000" y="1447800"/>
            <a:ext cx="2578100" cy="2514600"/>
          </a:xfrm>
          <a:prstGeom prst="ellipse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6802" y="1585029"/>
            <a:ext cx="2240142" cy="2240142"/>
          </a:xfrm>
          <a:prstGeom prst="rect">
            <a:avLst/>
          </a:prstGeom>
        </p:spPr>
      </p:pic>
      <p:sp>
        <p:nvSpPr>
          <p:cNvPr id="40" name="Elipse 39"/>
          <p:cNvSpPr/>
          <p:nvPr/>
        </p:nvSpPr>
        <p:spPr>
          <a:xfrm>
            <a:off x="4703523" y="1339850"/>
            <a:ext cx="2806700" cy="2730500"/>
          </a:xfrm>
          <a:prstGeom prst="ellipse">
            <a:avLst/>
          </a:prstGeom>
          <a:noFill/>
          <a:ln w="38100">
            <a:solidFill>
              <a:srgbClr val="545E63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/>
              <a:t>   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476767" y="4468970"/>
            <a:ext cx="7208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 DO PROJETO</a:t>
            </a:r>
            <a:endParaRPr lang="pt-BR" sz="40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51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Problemática </a:t>
            </a:r>
            <a:endParaRPr lang="pt-BR" sz="36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3850784" y="1324321"/>
            <a:ext cx="60144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 maioria das empresas possuem problemas com o trabalho</a:t>
            </a:r>
          </a:p>
          <a:p>
            <a:r>
              <a:rPr lang="pt-BR" dirty="0" smtClean="0"/>
              <a:t>em Home Office de seus funcionários.</a:t>
            </a:r>
          </a:p>
          <a:p>
            <a:endParaRPr lang="pt-BR" dirty="0"/>
          </a:p>
          <a:p>
            <a:r>
              <a:rPr lang="pt-BR" dirty="0" smtClean="0"/>
              <a:t>Eles encontram dificuldades principalmente no controle de produtividade de seus funcionários pois não tem um monitoramento adequado. Problemas com as cargas horarias e as entregas.</a:t>
            </a:r>
          </a:p>
          <a:p>
            <a:endParaRPr lang="pt-BR" dirty="0"/>
          </a:p>
          <a:p>
            <a:r>
              <a:rPr lang="pt-BR" dirty="0" smtClean="0"/>
              <a:t>Um dos problemas que mais atingem as empresas é com a segurança de informação. Pois muitos arquivos confidenciais não podem ser acessados por questão de segurança da informação.</a:t>
            </a:r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6337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Solução</a:t>
            </a:r>
            <a:endParaRPr lang="pt-BR" sz="36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3845138" y="727812"/>
            <a:ext cx="60144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smtClean="0"/>
              <a:t>A </a:t>
            </a:r>
            <a:r>
              <a:rPr lang="pt-BR" sz="2400" dirty="0" err="1" smtClean="0"/>
              <a:t>Tec</a:t>
            </a:r>
            <a:r>
              <a:rPr lang="pt-BR" sz="2400" dirty="0" smtClean="0"/>
              <a:t> </a:t>
            </a:r>
            <a:r>
              <a:rPr lang="pt-BR" sz="2400" dirty="0" err="1" smtClean="0"/>
              <a:t>Inside</a:t>
            </a:r>
            <a:r>
              <a:rPr lang="pt-BR" sz="2400" dirty="0" smtClean="0"/>
              <a:t> traz uma solução inovadora para essas empresas pois oferecemos uma SO para  o monitoramento das atividades em Home Office.</a:t>
            </a:r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845138" y="2770871"/>
            <a:ext cx="565382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 smtClean="0">
                <a:solidFill>
                  <a:schemeClr val="bg1"/>
                </a:solidFill>
              </a:rPr>
              <a:t>Produto</a:t>
            </a:r>
          </a:p>
          <a:p>
            <a:endParaRPr lang="pt-BR" sz="2800" dirty="0">
              <a:solidFill>
                <a:schemeClr val="bg1"/>
              </a:solidFill>
            </a:endParaRPr>
          </a:p>
          <a:p>
            <a:r>
              <a:rPr lang="pt-BR" dirty="0" smtClean="0"/>
              <a:t>Software de monitoramento da CPU, processamento, disco e memória. Com o intuito de controlar a produtividade dos funcionários, garantir continuidade dos serviços, horas trabalhadas e a segurança de dados.</a:t>
            </a:r>
            <a:endParaRPr lang="pt-BR" dirty="0"/>
          </a:p>
        </p:txBody>
      </p:sp>
      <p:sp>
        <p:nvSpPr>
          <p:cNvPr id="7" name="CaixaDeTexto 6"/>
          <p:cNvSpPr txBox="1"/>
          <p:nvPr/>
        </p:nvSpPr>
        <p:spPr>
          <a:xfrm>
            <a:off x="3845138" y="4959755"/>
            <a:ext cx="6014434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 smtClean="0">
                <a:solidFill>
                  <a:schemeClr val="bg1"/>
                </a:solidFill>
              </a:rPr>
              <a:t>Objetivo</a:t>
            </a:r>
          </a:p>
          <a:p>
            <a:endParaRPr lang="pt-BR" sz="2800" dirty="0">
              <a:solidFill>
                <a:schemeClr val="bg1"/>
              </a:solidFill>
            </a:endParaRPr>
          </a:p>
          <a:p>
            <a:r>
              <a:rPr lang="pt-BR" dirty="0" smtClean="0"/>
              <a:t>Prover soluções de tecnologia que agreguem valor ao negocio da empres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094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Inovação</a:t>
            </a:r>
            <a:endParaRPr lang="pt-BR" sz="3600" dirty="0"/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678801" y="1912767"/>
            <a:ext cx="706198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Utilizando o serviço Power BI, ferramenta de visualização e geração de relatórios, a </a:t>
            </a:r>
            <a:r>
              <a:rPr lang="pt-BR" sz="2400" dirty="0" err="1"/>
              <a:t>Tec</a:t>
            </a:r>
            <a:r>
              <a:rPr lang="pt-BR" sz="2400" dirty="0"/>
              <a:t> </a:t>
            </a:r>
            <a:r>
              <a:rPr lang="pt-BR" sz="2400" dirty="0" err="1"/>
              <a:t>Inside</a:t>
            </a:r>
            <a:r>
              <a:rPr lang="pt-BR" sz="2400" dirty="0"/>
              <a:t> inova em sua análise e tomada de decisão de gestores empresariais. Visamos a monitoração de produtividade dos colaboradores em Home Office: em quais dias da semana são mais produtivos; Rentabilidade de homens e mulheres; Aumento e eficácia na jornada de trabalho; monitoramento da produtividade em times diferentes.</a:t>
            </a:r>
          </a:p>
        </p:txBody>
      </p:sp>
    </p:spTree>
    <p:extLst>
      <p:ext uri="{BB962C8B-B14F-4D97-AF65-F5344CB8AC3E}">
        <p14:creationId xmlns:p14="http://schemas.microsoft.com/office/powerpoint/2010/main" val="401895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err="1" smtClean="0"/>
              <a:t>Canvas</a:t>
            </a:r>
            <a:endParaRPr lang="pt-BR" sz="3600" dirty="0"/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3"/>
          <a:stretch/>
        </p:blipFill>
        <p:spPr>
          <a:xfrm>
            <a:off x="3664834" y="746975"/>
            <a:ext cx="8080698" cy="553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36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-483751" y="1105208"/>
            <a:ext cx="3981158" cy="3854547"/>
          </a:xfrm>
          <a:prstGeom prst="ellipse">
            <a:avLst/>
          </a:prstGeom>
          <a:solidFill>
            <a:schemeClr val="accent1">
              <a:lumMod val="50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 smtClean="0"/>
              <a:t>User Story</a:t>
            </a:r>
            <a:endParaRPr lang="pt-BR" sz="3600" dirty="0"/>
          </a:p>
        </p:txBody>
      </p:sp>
      <p:sp>
        <p:nvSpPr>
          <p:cNvPr id="6" name="Elipse 5"/>
          <p:cNvSpPr/>
          <p:nvPr/>
        </p:nvSpPr>
        <p:spPr>
          <a:xfrm>
            <a:off x="-316324" y="-229495"/>
            <a:ext cx="1758758" cy="1742137"/>
          </a:xfrm>
          <a:prstGeom prst="ellipse">
            <a:avLst/>
          </a:prstGeom>
          <a:solidFill>
            <a:schemeClr val="accent1">
              <a:lumMod val="75000"/>
              <a:alpha val="9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dirty="0">
                <a:solidFill>
                  <a:srgbClr val="455FD6"/>
                </a:solidFill>
                <a:latin typeface="Berlin Sans FB" panose="020E0602020502020306" pitchFamily="34" charset="0"/>
              </a:rPr>
              <a:t>TEC </a:t>
            </a:r>
            <a:r>
              <a:rPr lang="pt-BR" sz="2800" dirty="0" smtClean="0">
                <a:solidFill>
                  <a:srgbClr val="455FD6"/>
                </a:solidFill>
                <a:latin typeface="Berlin Sans FB" panose="020E0602020502020306" pitchFamily="34" charset="0"/>
              </a:rPr>
              <a:t>INSIDE</a:t>
            </a:r>
            <a:endParaRPr lang="pt-BR" sz="2800" dirty="0">
              <a:solidFill>
                <a:srgbClr val="455FD6"/>
              </a:solidFill>
              <a:latin typeface="Berlin Sans FB" panose="020E0602020502020306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02299" y="1352282"/>
            <a:ext cx="667125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O cliente busca uma solução que garanta a produtividade dos funcionários através de uma plataforma de monitoramento das atividades e sistema operacional das respectivas máquinas.</a:t>
            </a:r>
          </a:p>
          <a:p>
            <a:r>
              <a:rPr lang="pt-BR" dirty="0" smtClean="0"/>
              <a:t>Dentro desse escopo se encontra um site voltado ao funcionário com sistema de cadastro, countdown de horas trabalhadas e link de upload para as atividades.</a:t>
            </a:r>
          </a:p>
          <a:p>
            <a:r>
              <a:rPr lang="pt-BR" dirty="0" smtClean="0"/>
              <a:t>Já para o gerente (responsável pela monitoração), o usuário pede um sistema que faça averiguação de tempo trabalhado por funcionários,  averiguação de funcionamento de cada máquina usada, tudo isso gerado em gráficos, alinhados  de acordo com o sistema de trabalho.</a:t>
            </a:r>
          </a:p>
          <a:p>
            <a:endParaRPr lang="pt-BR" dirty="0"/>
          </a:p>
          <a:p>
            <a:r>
              <a:rPr lang="pt-BR" dirty="0" smtClean="0"/>
              <a:t> A pedido a solução deve ter a interface fácil, prática e bem assertiva com base em visualização do monitoramento.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593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elestial">
  <a:themeElements>
    <a:clrScheme name="Celestial">
      <a:dk1>
        <a:sysClr val="windowText" lastClr="000000"/>
      </a:dk1>
      <a:lt1>
        <a:sysClr val="window" lastClr="FFFFFF"/>
      </a:lt1>
      <a:dk2>
        <a:srgbClr val="18276C"/>
      </a:dk2>
      <a:lt2>
        <a:srgbClr val="EBEBEB"/>
      </a:lt2>
      <a:accent1>
        <a:srgbClr val="AC3EC1"/>
      </a:accent1>
      <a:accent2>
        <a:srgbClr val="477BD1"/>
      </a:accent2>
      <a:accent3>
        <a:srgbClr val="46B298"/>
      </a:accent3>
      <a:accent4>
        <a:srgbClr val="90BA4C"/>
      </a:accent4>
      <a:accent5>
        <a:srgbClr val="DD9D31"/>
      </a:accent5>
      <a:accent6>
        <a:srgbClr val="E25247"/>
      </a:accent6>
      <a:hlink>
        <a:srgbClr val="C573D2"/>
      </a:hlink>
      <a:folHlink>
        <a:srgbClr val="CCAEE8"/>
      </a:folHlink>
    </a:clrScheme>
    <a:fontScheme name="Celestial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elestial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82000"/>
                <a:alpha val="7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0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1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6000"/>
                <a:hueMod val="100000"/>
                <a:satMod val="180000"/>
                <a:lumMod val="110000"/>
              </a:schemeClr>
            </a:gs>
            <a:gs pos="100000">
              <a:schemeClr val="phClr">
                <a:shade val="96000"/>
                <a:satMod val="160000"/>
                <a:lumMod val="100000"/>
              </a:schemeClr>
            </a:gs>
          </a:gsLst>
          <a:lin ang="4740000" scaled="1"/>
        </a:gradFill>
        <a:blipFill>
          <a:blip xmlns:r="http://schemas.openxmlformats.org/officeDocument/2006/relationships" r:embed="rId1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estial" id="{C4BB2A3D-0E93-4C5F-B0D2-9D3FCE089CC5}" vid="{42E5908D-19A2-46FD-89FA-638B126129EF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52[[fn=Celeste]]</Template>
  <TotalTime>422</TotalTime>
  <Words>648</Words>
  <Application>Microsoft Office PowerPoint</Application>
  <PresentationFormat>Widescreen</PresentationFormat>
  <Paragraphs>126</Paragraphs>
  <Slides>14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4" baseType="lpstr">
      <vt:lpstr>Arial</vt:lpstr>
      <vt:lpstr>Berlin Sans FB</vt:lpstr>
      <vt:lpstr>Calibri</vt:lpstr>
      <vt:lpstr>Calibri Light</vt:lpstr>
      <vt:lpstr>MV Boli</vt:lpstr>
      <vt:lpstr>Simplon BP Medium</vt:lpstr>
      <vt:lpstr>Simplon BP Regular</vt:lpstr>
      <vt:lpstr>Simplon Oi Headline</vt:lpstr>
      <vt:lpstr>Celestial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exandre Carvalho Volpe</dc:creator>
  <cp:lastModifiedBy>Alexandre Carvalho Volpe</cp:lastModifiedBy>
  <cp:revision>28</cp:revision>
  <dcterms:created xsi:type="dcterms:W3CDTF">2019-03-19T21:23:01Z</dcterms:created>
  <dcterms:modified xsi:type="dcterms:W3CDTF">2019-03-20T23:34:58Z</dcterms:modified>
</cp:coreProperties>
</file>